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5" r:id="rId3"/>
    <p:sldId id="257" r:id="rId4"/>
    <p:sldId id="258" r:id="rId5"/>
    <p:sldId id="263" r:id="rId6"/>
    <p:sldId id="260" r:id="rId7"/>
    <p:sldId id="266" r:id="rId8"/>
    <p:sldId id="261" r:id="rId9"/>
    <p:sldId id="264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4C4E"/>
    <a:srgbClr val="B3D313"/>
    <a:srgbClr val="575B5D"/>
    <a:srgbClr val="5D6163"/>
    <a:srgbClr val="B0CF13"/>
    <a:srgbClr val="BFDF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78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033CBB-4CB8-4A76-A353-3FA69D4D8162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F9F1AD-1132-4F9C-AFF3-254786AEA3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4281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F02FCB-63F4-43BB-BC88-2812C41D8CD4}" type="datetimeFigureOut">
              <a:rPr lang="en-US" smtClean="0"/>
              <a:t>3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404BC2-670F-4D3A-A41D-4E1A9E35A0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8926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134B8-FFF2-468E-AE62-2ADB00275AC0}" type="datetime1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014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336FD7-60DC-496F-9CBA-DB534D7177C4}" type="datetime1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832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0C5DE4-0C16-4D7C-99EB-A96E8CD31E43}" type="datetime1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458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962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678CD-58FE-44F2-ACA9-81328306C073}" type="datetime1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52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8EE51-0C13-4BCB-A037-272389CB1A10}" type="datetime1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62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23157-5EF5-42A6-9DFA-095D5B36D3FE}" type="datetime1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3028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7DA79-0DB5-49B4-B7CC-E76CBE5251FE}" type="datetime1">
              <a:rPr lang="en-US" smtClean="0"/>
              <a:t>3/1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968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0EB7D-B6C7-4185-8294-AE6596D79217}" type="datetime1">
              <a:rPr lang="en-US" smtClean="0"/>
              <a:t>3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736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08BBA-0B82-42DF-8C38-14E6F18C48D2}" type="datetime1">
              <a:rPr lang="en-US" smtClean="0"/>
              <a:t>3/1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106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9FCBF-A0DE-4791-913A-1C61E2241046}" type="datetime1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650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E6E31-C597-472F-98EA-91FA13B4AB23}" type="datetime1">
              <a:rPr lang="en-US" smtClean="0"/>
              <a:t>3/1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770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40115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5" imgW="381" imgH="381" progId="TCLayout.ActiveDocument.1">
                  <p:embed/>
                </p:oleObj>
              </mc:Choice>
              <mc:Fallback>
                <p:oleObj name="think-cell Slide" r:id="rId1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449FA7-4261-435C-A57F-AD2D76185346}" type="datetime1">
              <a:rPr lang="en-US" smtClean="0"/>
              <a:t>3/1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AFB1DE-2FAF-4F3D-A35D-9151061B8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01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6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1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04" name="Picture 8" descr="Image result for skolkovo pi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8070" y="-1205523"/>
            <a:ext cx="12570070" cy="8380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5318975" y="1533545"/>
            <a:ext cx="6413679" cy="1348304"/>
            <a:chOff x="4844562" y="634878"/>
            <a:chExt cx="6743699" cy="1633537"/>
          </a:xfrm>
        </p:grpSpPr>
        <p:sp>
          <p:nvSpPr>
            <p:cNvPr id="4" name="Parallelogram 3"/>
            <p:cNvSpPr/>
            <p:nvPr/>
          </p:nvSpPr>
          <p:spPr>
            <a:xfrm>
              <a:off x="4844562" y="634878"/>
              <a:ext cx="6743699" cy="1633537"/>
            </a:xfrm>
            <a:prstGeom prst="parallelogram">
              <a:avLst/>
            </a:prstGeom>
            <a:solidFill>
              <a:srgbClr val="B3D313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itle 1"/>
            <p:cNvSpPr txBox="1">
              <a:spLocks/>
            </p:cNvSpPr>
            <p:nvPr/>
          </p:nvSpPr>
          <p:spPr>
            <a:xfrm>
              <a:off x="5152174" y="735212"/>
              <a:ext cx="6128474" cy="1275799"/>
            </a:xfrm>
            <a:prstGeom prst="rect">
              <a:avLst/>
            </a:prstGeom>
            <a:ln>
              <a:noFill/>
            </a:ln>
          </p:spPr>
          <p:txBody>
            <a:bodyPr vert="horz" lIns="91440" tIns="45720" rIns="91440" bIns="45720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3000" b="1" dirty="0" smtClean="0">
                  <a:solidFill>
                    <a:srgbClr val="575B5D"/>
                  </a:solidFill>
                  <a:latin typeface="Georgia" panose="02040502050405020303" pitchFamily="18" charset="0"/>
                </a:rPr>
                <a:t>Hybrid of Regression Trees </a:t>
              </a:r>
            </a:p>
            <a:p>
              <a:r>
                <a:rPr lang="en-US" sz="3000" b="1" dirty="0" smtClean="0">
                  <a:solidFill>
                    <a:srgbClr val="575B5D"/>
                  </a:solidFill>
                  <a:latin typeface="Georgia" panose="02040502050405020303" pitchFamily="18" charset="0"/>
                </a:rPr>
                <a:t>&amp; Linear Regression (HRT)</a:t>
              </a:r>
              <a:endParaRPr lang="en-US" sz="3000" b="1" dirty="0">
                <a:solidFill>
                  <a:srgbClr val="575B5D"/>
                </a:solidFill>
                <a:latin typeface="Georgia" panose="020405020504050203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5374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585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3" name="Picture 49" descr="https://cdn-images-1.medium.com/max/1800/1*8tP_5zRKNAyVSeexu7RJZ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934" y="1609446"/>
            <a:ext cx="9378569" cy="4222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Problem Statement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2</a:t>
            </a:fld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700644" y="5502498"/>
            <a:ext cx="10653156" cy="639034"/>
            <a:chOff x="7032851" y="1579991"/>
            <a:chExt cx="4648287" cy="4872791"/>
          </a:xfrm>
        </p:grpSpPr>
        <p:sp>
          <p:nvSpPr>
            <p:cNvPr id="8" name="Rectangle 7"/>
            <p:cNvSpPr/>
            <p:nvPr/>
          </p:nvSpPr>
          <p:spPr>
            <a:xfrm>
              <a:off x="7032851" y="1579991"/>
              <a:ext cx="4648287" cy="48727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156238" y="2616948"/>
              <a:ext cx="4401513" cy="12117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buSzPct val="100000"/>
              </a:pPr>
              <a:r>
                <a:rPr lang="en-US" i="1" dirty="0" smtClean="0"/>
                <a:t>A </a:t>
              </a:r>
              <a:r>
                <a:rPr lang="en-US" i="1" dirty="0"/>
                <a:t>result that is present when data is put into groups that reverses or disappears when the data is </a:t>
              </a:r>
              <a:r>
                <a:rPr lang="en-US" i="1" dirty="0" smtClean="0"/>
                <a:t>combined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469396" y="1688239"/>
            <a:ext cx="5095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Simpson’s paradox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053305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710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HRT - General </a:t>
            </a:r>
            <a:r>
              <a:rPr lang="en-US" b="1" dirty="0" smtClean="0">
                <a:solidFill>
                  <a:srgbClr val="575B5D"/>
                </a:solidFill>
              </a:rPr>
              <a:t>Concepts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33" name="Picture 9" descr="https://cdn-images-1.medium.com/max/1440/1*yKxIOatPakfHvYMapbYVew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19" y="2002357"/>
            <a:ext cx="5836402" cy="3785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3</a:t>
            </a:fld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6877318" y="1436634"/>
            <a:ext cx="4816699" cy="5216970"/>
            <a:chOff x="6864439" y="1444214"/>
            <a:chExt cx="4816699" cy="5119541"/>
          </a:xfrm>
        </p:grpSpPr>
        <p:grpSp>
          <p:nvGrpSpPr>
            <p:cNvPr id="15" name="Group 14"/>
            <p:cNvGrpSpPr/>
            <p:nvPr/>
          </p:nvGrpSpPr>
          <p:grpSpPr>
            <a:xfrm>
              <a:off x="6864439" y="1444214"/>
              <a:ext cx="4816699" cy="4872791"/>
              <a:chOff x="613046" y="1739153"/>
              <a:chExt cx="4003778" cy="4455459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53035" y="1739153"/>
                <a:ext cx="3863789" cy="445545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613046" y="1739153"/>
                <a:ext cx="4003778" cy="582706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2400" dirty="0" smtClean="0"/>
                  <a:t> How does it work, advantages</a:t>
                </a:r>
                <a:endParaRPr lang="en-US" sz="2400" dirty="0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7160654" y="2244748"/>
              <a:ext cx="4378816" cy="4319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buSzPct val="100000"/>
              </a:pPr>
              <a:r>
                <a:rPr lang="en-US" sz="2000" i="1" dirty="0" smtClean="0"/>
                <a:t>Fits local linear regression in the leaves with alternative impurity measure*</a:t>
              </a:r>
            </a:p>
            <a:p>
              <a:endParaRPr lang="en-US" sz="2000" dirty="0"/>
            </a:p>
            <a:p>
              <a:pPr algn="just"/>
              <a:r>
                <a:rPr lang="en-US" sz="2000" dirty="0" smtClean="0"/>
                <a:t>+   </a:t>
              </a:r>
              <a:r>
                <a:rPr lang="en-US" sz="2000" dirty="0" err="1" smtClean="0"/>
                <a:t>Explainability</a:t>
              </a:r>
              <a:endParaRPr lang="en-US" sz="2000" dirty="0" smtClean="0"/>
            </a:p>
            <a:p>
              <a:pPr algn="just"/>
              <a:r>
                <a:rPr lang="en-US" sz="2000" dirty="0" smtClean="0"/>
                <a:t>+   Non-linearity</a:t>
              </a:r>
            </a:p>
            <a:p>
              <a:pPr algn="just"/>
              <a:r>
                <a:rPr lang="en-US" sz="2000" dirty="0" smtClean="0"/>
                <a:t>+   Requires small tree </a:t>
              </a:r>
              <a:r>
                <a:rPr lang="en-US" sz="2000" dirty="0" smtClean="0"/>
                <a:t>depth</a:t>
              </a:r>
            </a:p>
            <a:p>
              <a:pPr algn="just"/>
              <a:r>
                <a:rPr lang="en-US" sz="2000" dirty="0" smtClean="0"/>
                <a:t>+   Can be run in parallel</a:t>
              </a:r>
              <a:endParaRPr lang="en-US" sz="2000" dirty="0" smtClean="0"/>
            </a:p>
            <a:p>
              <a:pPr algn="just"/>
              <a:endParaRPr lang="en-US" sz="2000" dirty="0"/>
            </a:p>
            <a:p>
              <a:pPr marL="285750" indent="-285750" algn="just">
                <a:buFontTx/>
                <a:buChar char="-"/>
              </a:pPr>
              <a:r>
                <a:rPr lang="en-US" sz="2000" dirty="0" smtClean="0"/>
                <a:t>Is trained longer than LR, GBT</a:t>
              </a:r>
            </a:p>
            <a:p>
              <a:pPr marL="285750" indent="-285750" algn="just">
                <a:buFontTx/>
                <a:buChar char="-"/>
              </a:pPr>
              <a:r>
                <a:rPr lang="en-US" sz="2000" dirty="0" smtClean="0"/>
                <a:t>Ensemble Hybrid is not explainable</a:t>
              </a:r>
            </a:p>
            <a:p>
              <a:pPr marL="285750" indent="-285750" algn="just">
                <a:buFontTx/>
                <a:buChar char="-"/>
              </a:pPr>
              <a:r>
                <a:rPr lang="en-US" sz="2000" dirty="0" smtClean="0"/>
                <a:t>Poorly covers feature </a:t>
              </a:r>
              <a:r>
                <a:rPr lang="en-US" sz="2000" dirty="0" smtClean="0"/>
                <a:t>interaction</a:t>
              </a:r>
              <a:endParaRPr lang="en-US" sz="2000" dirty="0" smtClean="0"/>
            </a:p>
            <a:p>
              <a:pPr algn="just"/>
              <a:endParaRPr lang="en-US" sz="1400" i="1" dirty="0" smtClean="0"/>
            </a:p>
            <a:p>
              <a:pPr algn="just"/>
              <a:r>
                <a:rPr lang="en-US" sz="1400" i="1" dirty="0" smtClean="0"/>
                <a:t>*</a:t>
              </a:r>
              <a:r>
                <a:rPr lang="en-US" sz="1400" i="1" dirty="0" smtClean="0"/>
                <a:t>Linear Regression in Regression Tree Leaves. </a:t>
              </a:r>
              <a:r>
                <a:rPr lang="en-US" sz="1400" i="1" dirty="0" err="1" smtClean="0"/>
                <a:t>A.Karalik</a:t>
              </a:r>
              <a:r>
                <a:rPr lang="en-US" sz="1400" i="1" dirty="0" smtClean="0"/>
                <a:t> (1992)</a:t>
              </a:r>
            </a:p>
            <a:p>
              <a:pPr marL="285750" indent="-285750">
                <a:buFontTx/>
                <a:buChar char="-"/>
              </a:pP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4677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Deep Dive in Theory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4</a:t>
            </a:fld>
            <a:endParaRPr lang="en-US"/>
          </a:p>
        </p:txBody>
      </p:sp>
      <p:sp>
        <p:nvSpPr>
          <p:cNvPr id="12" name="Content Placeholder 2"/>
          <p:cNvSpPr txBox="1"/>
          <p:nvPr/>
        </p:nvSpPr>
        <p:spPr>
          <a:xfrm>
            <a:off x="846821" y="2051537"/>
            <a:ext cx="4954537" cy="4304813"/>
          </a:xfrm>
          <a:prstGeom prst="rect">
            <a:avLst/>
          </a:prstGeom>
          <a:ln w="12700">
            <a:solidFill>
              <a:srgbClr val="000000"/>
            </a:solidFill>
            <a:miter/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45719" rIns="45719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buFont typeface="Arial"/>
              <a:defRPr sz="2800"/>
            </a:pPr>
            <a:endParaRPr/>
          </a:p>
        </p:txBody>
      </p:sp>
      <p:sp>
        <p:nvSpPr>
          <p:cNvPr id="13" name="Content Placeholder 2"/>
          <p:cNvSpPr txBox="1"/>
          <p:nvPr/>
        </p:nvSpPr>
        <p:spPr>
          <a:xfrm>
            <a:off x="6549121" y="2051537"/>
            <a:ext cx="4954537" cy="4304813"/>
          </a:xfrm>
          <a:prstGeom prst="rect">
            <a:avLst/>
          </a:prstGeom>
          <a:ln w="12700">
            <a:solidFill>
              <a:srgbClr val="000000"/>
            </a:solidFill>
            <a:miter/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45719" rIns="45719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buFont typeface="Arial"/>
              <a:defRPr sz="2800"/>
            </a:pPr>
            <a:endParaRPr/>
          </a:p>
        </p:txBody>
      </p:sp>
      <p:sp>
        <p:nvSpPr>
          <p:cNvPr id="14" name="Прямоугольник"/>
          <p:cNvSpPr/>
          <p:nvPr/>
        </p:nvSpPr>
        <p:spPr>
          <a:xfrm>
            <a:off x="6426558" y="1548420"/>
            <a:ext cx="5090691" cy="551962"/>
          </a:xfrm>
          <a:prstGeom prst="rect">
            <a:avLst/>
          </a:prstGeom>
          <a:solidFill>
            <a:srgbClr val="757171"/>
          </a:solidFill>
          <a:ln w="12700">
            <a:miter lim="400000"/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15" name="Прямоугольник"/>
          <p:cNvSpPr/>
          <p:nvPr/>
        </p:nvSpPr>
        <p:spPr>
          <a:xfrm>
            <a:off x="728954" y="1548420"/>
            <a:ext cx="5073116" cy="551962"/>
          </a:xfrm>
          <a:prstGeom prst="rect">
            <a:avLst/>
          </a:prstGeom>
          <a:solidFill>
            <a:srgbClr val="757171"/>
          </a:solidFill>
          <a:ln w="12700">
            <a:miter lim="400000"/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16" name="Content Placeholder 2"/>
          <p:cNvSpPr txBox="1"/>
          <p:nvPr/>
        </p:nvSpPr>
        <p:spPr>
          <a:xfrm>
            <a:off x="804115" y="1557079"/>
            <a:ext cx="5034304" cy="5392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>
            <a:lvl1pPr algn="ctr">
              <a:lnSpc>
                <a:spcPct val="90000"/>
              </a:lnSpc>
              <a:spcBef>
                <a:spcPts val="1000"/>
              </a:spcBef>
              <a:buFont typeface="Arial"/>
              <a:defRPr sz="2800">
                <a:solidFill>
                  <a:srgbClr val="FFFFFF"/>
                </a:solidFill>
              </a:defRPr>
            </a:lvl1pPr>
          </a:lstStyle>
          <a:p>
            <a:r>
              <a:rPr dirty="0"/>
              <a:t>Hybrid Regression Tree</a:t>
            </a:r>
          </a:p>
        </p:txBody>
      </p:sp>
      <p:sp>
        <p:nvSpPr>
          <p:cNvPr id="17" name="Content Placeholder 2"/>
          <p:cNvSpPr txBox="1"/>
          <p:nvPr/>
        </p:nvSpPr>
        <p:spPr>
          <a:xfrm>
            <a:off x="6439437" y="1557079"/>
            <a:ext cx="5139382" cy="5392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>
            <a:lvl1pPr algn="ctr">
              <a:lnSpc>
                <a:spcPct val="90000"/>
              </a:lnSpc>
              <a:spcBef>
                <a:spcPts val="1000"/>
              </a:spcBef>
              <a:buFont typeface="Arial"/>
              <a:defRPr sz="2800">
                <a:solidFill>
                  <a:srgbClr val="FFFFFF"/>
                </a:solidFill>
              </a:defRPr>
            </a:lvl1pPr>
          </a:lstStyle>
          <a:p>
            <a:r>
              <a:rPr dirty="0"/>
              <a:t>Basic CART</a:t>
            </a:r>
          </a:p>
        </p:txBody>
      </p:sp>
      <p:sp>
        <p:nvSpPr>
          <p:cNvPr id="18" name="Class value is estimated as linear function of attributes;…"/>
          <p:cNvSpPr txBox="1"/>
          <p:nvPr/>
        </p:nvSpPr>
        <p:spPr>
          <a:xfrm>
            <a:off x="927570" y="2289490"/>
            <a:ext cx="4765250" cy="8915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180473" indent="-180473">
              <a:buSzPct val="100000"/>
              <a:buChar char="•"/>
            </a:pPr>
            <a:r>
              <a:rPr dirty="0"/>
              <a:t>Class value is estimated as </a:t>
            </a:r>
            <a:r>
              <a:rPr b="1" dirty="0"/>
              <a:t>linear function of attributes</a:t>
            </a:r>
            <a:r>
              <a:rPr dirty="0"/>
              <a:t>;</a:t>
            </a:r>
          </a:p>
          <a:p>
            <a:pPr marL="180473" indent="-180473">
              <a:buSzPct val="100000"/>
              <a:buChar char="•"/>
            </a:pPr>
            <a:r>
              <a:rPr dirty="0"/>
              <a:t>Impurity measure of an example set E:</a:t>
            </a:r>
          </a:p>
        </p:txBody>
      </p:sp>
      <p:sp>
        <p:nvSpPr>
          <p:cNvPr id="19" name="Class value is estimated as constant value;…"/>
          <p:cNvSpPr txBox="1"/>
          <p:nvPr/>
        </p:nvSpPr>
        <p:spPr>
          <a:xfrm>
            <a:off x="6642570" y="2289490"/>
            <a:ext cx="4765250" cy="8915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180473" indent="-180473">
              <a:buSzPct val="100000"/>
              <a:buChar char="•"/>
            </a:pPr>
            <a:r>
              <a:rPr dirty="0"/>
              <a:t>Class value is estimated as </a:t>
            </a:r>
            <a:r>
              <a:rPr b="1" dirty="0"/>
              <a:t>constant value</a:t>
            </a:r>
            <a:r>
              <a:rPr dirty="0"/>
              <a:t>;</a:t>
            </a:r>
          </a:p>
          <a:p>
            <a:pPr marL="180473" indent="-180473">
              <a:buSzPct val="100000"/>
              <a:buChar char="•"/>
            </a:pPr>
            <a:r>
              <a:rPr dirty="0"/>
              <a:t>Impurity measure of an example set E - estimate of variance of the class values:</a:t>
            </a:r>
          </a:p>
        </p:txBody>
      </p:sp>
      <p:pic>
        <p:nvPicPr>
          <p:cNvPr id="20" name="Snip20190316_2.png" descr="Snip20190316_2.png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472709" y="3155062"/>
            <a:ext cx="3472224" cy="721502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Function g represents the regression plane through the example set."/>
          <p:cNvSpPr txBox="1"/>
          <p:nvPr/>
        </p:nvSpPr>
        <p:spPr>
          <a:xfrm>
            <a:off x="1124735" y="3811616"/>
            <a:ext cx="4271709" cy="624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r>
              <a:t>Function g represents the regression plane through the example set.</a:t>
            </a:r>
          </a:p>
        </p:txBody>
      </p:sp>
      <p:pic>
        <p:nvPicPr>
          <p:cNvPr id="22" name="Snip20190316_4.png" descr="Snip20190316_4.png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2103151" y="3908108"/>
            <a:ext cx="155877" cy="26924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Expected utility of the split - defined in similar way as for CART."/>
          <p:cNvSpPr txBox="1"/>
          <p:nvPr/>
        </p:nvSpPr>
        <p:spPr>
          <a:xfrm>
            <a:off x="927570" y="4423090"/>
            <a:ext cx="4765250" cy="624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marL="180473" indent="-180473">
              <a:buSzPct val="100000"/>
              <a:buChar char="•"/>
            </a:lvl1pPr>
          </a:lstStyle>
          <a:p>
            <a:r>
              <a:rPr dirty="0"/>
              <a:t>Expected utility of the split - defined in similar way as for CART.</a:t>
            </a:r>
          </a:p>
        </p:txBody>
      </p:sp>
      <p:pic>
        <p:nvPicPr>
          <p:cNvPr id="24" name="Snip20190316_5.png" descr="Snip20190316_5.png"/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7532385" y="4879025"/>
            <a:ext cx="2347077" cy="532187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Snip20190316_6.png" descr="Snip20190316_6.png"/>
          <p:cNvPicPr>
            <a:picLocks noChangeAspect="1"/>
          </p:cNvPicPr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6978466" y="3091588"/>
            <a:ext cx="3863797" cy="790576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Here     is the weight of example. ,…"/>
          <p:cNvSpPr txBox="1"/>
          <p:nvPr/>
        </p:nvSpPr>
        <p:spPr>
          <a:xfrm>
            <a:off x="6824213" y="3831644"/>
            <a:ext cx="4271708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r>
              <a:rPr dirty="0"/>
              <a:t>Here     </a:t>
            </a:r>
            <a:r>
              <a:rPr lang="en-US" dirty="0" smtClean="0"/>
              <a:t>   </a:t>
            </a:r>
            <a:r>
              <a:rPr dirty="0" smtClean="0"/>
              <a:t>is </a:t>
            </a:r>
            <a:r>
              <a:rPr dirty="0"/>
              <a:t>the weight of example. ,  </a:t>
            </a:r>
          </a:p>
          <a:p>
            <a:r>
              <a:rPr dirty="0"/>
              <a:t>           - </a:t>
            </a:r>
            <a:r>
              <a:rPr lang="en-US" dirty="0" smtClean="0"/>
              <a:t> </a:t>
            </a:r>
            <a:r>
              <a:rPr dirty="0" smtClean="0"/>
              <a:t>sum </a:t>
            </a:r>
            <a:r>
              <a:rPr dirty="0"/>
              <a:t>of example weights,</a:t>
            </a:r>
          </a:p>
          <a:p>
            <a:r>
              <a:rPr dirty="0"/>
              <a:t>          - </a:t>
            </a:r>
            <a:r>
              <a:rPr lang="en-US" dirty="0" smtClean="0"/>
              <a:t> </a:t>
            </a:r>
            <a:r>
              <a:rPr dirty="0" smtClean="0"/>
              <a:t>mean </a:t>
            </a:r>
            <a:r>
              <a:rPr dirty="0"/>
              <a:t>class value.</a:t>
            </a:r>
          </a:p>
        </p:txBody>
      </p:sp>
      <p:pic>
        <p:nvPicPr>
          <p:cNvPr id="27" name="Snip20190316_7.png" descr="Snip20190316_7.png"/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7362689" y="3908108"/>
            <a:ext cx="279401" cy="2794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Snip20190316_8.png" descr="Snip20190316_8.png"/>
          <p:cNvPicPr>
            <a:picLocks noChangeAspect="1"/>
          </p:cNvPicPr>
          <p:nvPr/>
        </p:nvPicPr>
        <p:blipFill>
          <a:blip r:embed="rId12">
            <a:extLst/>
          </a:blip>
          <a:stretch>
            <a:fillRect/>
          </a:stretch>
        </p:blipFill>
        <p:spPr>
          <a:xfrm>
            <a:off x="10223457" y="3870008"/>
            <a:ext cx="167133" cy="358141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Snip20190316_9.png" descr="Snip20190316_9.png"/>
          <p:cNvPicPr>
            <a:picLocks noChangeAspect="1"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6825422" y="4135438"/>
            <a:ext cx="775971" cy="358141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Snip20190316_10.png" descr="Snip20190316_10.png"/>
          <p:cNvPicPr>
            <a:picLocks noChangeAspect="1"/>
          </p:cNvPicPr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6880089" y="4403408"/>
            <a:ext cx="579121" cy="381001"/>
          </a:xfrm>
          <a:prstGeom prst="rect">
            <a:avLst/>
          </a:prstGeom>
          <a:ln w="12700">
            <a:miter lim="400000"/>
          </a:ln>
        </p:spPr>
      </p:pic>
      <p:sp>
        <p:nvSpPr>
          <p:cNvPr id="31" name="Expected utility of the split:"/>
          <p:cNvSpPr txBox="1"/>
          <p:nvPr/>
        </p:nvSpPr>
        <p:spPr>
          <a:xfrm>
            <a:off x="6643764" y="4683889"/>
            <a:ext cx="4765251" cy="358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marL="180473" indent="-180473">
              <a:buSzPct val="100000"/>
              <a:buChar char="•"/>
            </a:lvl1pPr>
          </a:lstStyle>
          <a:p>
            <a:r>
              <a:t>Expected utility of the split:</a:t>
            </a:r>
          </a:p>
        </p:txBody>
      </p:sp>
      <p:sp>
        <p:nvSpPr>
          <p:cNvPr id="32" name="Here          - probabilities of transitions into left/right son of the node,…"/>
          <p:cNvSpPr txBox="1"/>
          <p:nvPr/>
        </p:nvSpPr>
        <p:spPr>
          <a:xfrm>
            <a:off x="6827035" y="5288567"/>
            <a:ext cx="4271709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r>
              <a:rPr dirty="0"/>
              <a:t>Here          - </a:t>
            </a:r>
            <a:r>
              <a:rPr lang="en-US" dirty="0" smtClean="0"/>
              <a:t>  </a:t>
            </a:r>
            <a:r>
              <a:rPr dirty="0" smtClean="0"/>
              <a:t>probabilities </a:t>
            </a:r>
            <a:r>
              <a:rPr dirty="0"/>
              <a:t>of transitions into left/right son of the node,</a:t>
            </a:r>
          </a:p>
          <a:p>
            <a:r>
              <a:rPr dirty="0"/>
              <a:t>          - </a:t>
            </a:r>
            <a:r>
              <a:rPr lang="en-US" dirty="0" smtClean="0"/>
              <a:t>  </a:t>
            </a:r>
            <a:r>
              <a:rPr dirty="0" smtClean="0"/>
              <a:t>corresponding </a:t>
            </a:r>
            <a:r>
              <a:rPr dirty="0"/>
              <a:t>impurities.</a:t>
            </a:r>
          </a:p>
        </p:txBody>
      </p:sp>
      <p:pic>
        <p:nvPicPr>
          <p:cNvPr id="33" name="Snip20190316_11.png" descr="Snip20190316_11.png"/>
          <p:cNvPicPr>
            <a:picLocks noChangeAspect="1"/>
          </p:cNvPicPr>
          <p:nvPr/>
        </p:nvPicPr>
        <p:blipFill>
          <a:blip r:embed="rId15">
            <a:extLst/>
          </a:blip>
          <a:stretch>
            <a:fillRect/>
          </a:stretch>
        </p:blipFill>
        <p:spPr>
          <a:xfrm>
            <a:off x="7405084" y="5315237"/>
            <a:ext cx="579121" cy="308044"/>
          </a:xfrm>
          <a:prstGeom prst="rect">
            <a:avLst/>
          </a:prstGeom>
          <a:ln w="12700">
            <a:miter lim="400000"/>
          </a:ln>
        </p:spPr>
      </p:pic>
      <p:pic>
        <p:nvPicPr>
          <p:cNvPr id="34" name="Snip20190316_12.png" descr="Snip20190316_12.png"/>
          <p:cNvPicPr>
            <a:picLocks noChangeAspect="1"/>
          </p:cNvPicPr>
          <p:nvPr/>
        </p:nvPicPr>
        <p:blipFill>
          <a:blip r:embed="rId16">
            <a:extLst/>
          </a:blip>
          <a:stretch>
            <a:fillRect/>
          </a:stretch>
        </p:blipFill>
        <p:spPr>
          <a:xfrm>
            <a:off x="6882816" y="5843754"/>
            <a:ext cx="661183" cy="35814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3893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305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558" y="1694467"/>
            <a:ext cx="3313586" cy="4835770"/>
          </a:xfrm>
          <a:ln>
            <a:noFill/>
          </a:ln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2000" dirty="0" smtClean="0"/>
          </a:p>
          <a:p>
            <a:pPr marL="0" indent="0" algn="ctr">
              <a:buNone/>
            </a:pPr>
            <a:endParaRPr lang="en-US" sz="2000" dirty="0"/>
          </a:p>
          <a:p>
            <a:pPr marL="0" indent="0" algn="ctr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b="1" u="sng" dirty="0" smtClean="0"/>
          </a:p>
          <a:p>
            <a:pPr marL="0" indent="0">
              <a:buNone/>
            </a:pPr>
            <a:endParaRPr lang="en-US" sz="2000" b="1" u="sng" dirty="0" smtClean="0"/>
          </a:p>
          <a:p>
            <a:pPr marL="0" indent="0">
              <a:buNone/>
            </a:pPr>
            <a:r>
              <a:rPr lang="en-US" sz="2000" b="1" u="sng" dirty="0" smtClean="0"/>
              <a:t>Goal</a:t>
            </a:r>
            <a:r>
              <a:rPr lang="en-US" sz="2000" dirty="0" smtClean="0"/>
              <a:t>: Predict flats sales</a:t>
            </a:r>
          </a:p>
          <a:p>
            <a:pPr marL="0" indent="0">
              <a:buNone/>
            </a:pPr>
            <a:r>
              <a:rPr lang="en-US" sz="2000" b="1" u="sng" dirty="0" smtClean="0"/>
              <a:t>Metric</a:t>
            </a:r>
            <a:r>
              <a:rPr lang="en-US" sz="2000" dirty="0" smtClean="0"/>
              <a:t>: RMSE</a:t>
            </a:r>
          </a:p>
          <a:p>
            <a:pPr marL="0" indent="0">
              <a:buNone/>
            </a:pPr>
            <a:r>
              <a:rPr lang="en-US" sz="2000" b="1" u="sng" dirty="0" smtClean="0"/>
              <a:t>Shape</a:t>
            </a:r>
            <a:r>
              <a:rPr lang="en-US" sz="2000" dirty="0" smtClean="0"/>
              <a:t>: (8726, 47)</a:t>
            </a:r>
          </a:p>
          <a:p>
            <a:pPr marL="0" indent="0">
              <a:buNone/>
            </a:pPr>
            <a:r>
              <a:rPr lang="en-US" sz="2000" b="1" u="sng" dirty="0" smtClean="0"/>
              <a:t>Data</a:t>
            </a:r>
            <a:r>
              <a:rPr lang="en-US" sz="2000" dirty="0" smtClean="0"/>
              <a:t>:</a:t>
            </a:r>
          </a:p>
          <a:p>
            <a:pPr>
              <a:buFontTx/>
              <a:buChar char="-"/>
            </a:pPr>
            <a:r>
              <a:rPr lang="en-US" sz="2000" dirty="0" smtClean="0"/>
              <a:t>Flats characteristics</a:t>
            </a:r>
          </a:p>
          <a:p>
            <a:pPr>
              <a:buFontTx/>
              <a:buChar char="-"/>
            </a:pPr>
            <a:r>
              <a:rPr lang="en-US" sz="2000" dirty="0" smtClean="0"/>
              <a:t>Macroeconomic data</a:t>
            </a:r>
          </a:p>
          <a:p>
            <a:pPr>
              <a:buFontTx/>
              <a:buChar char="-"/>
            </a:pPr>
            <a:r>
              <a:rPr lang="en-US" sz="2000" dirty="0" smtClean="0"/>
              <a:t>Geo data</a:t>
            </a:r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Datasets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5</a:t>
            </a:fld>
            <a:endParaRPr lang="en-US"/>
          </a:p>
        </p:txBody>
      </p:sp>
      <p:pic>
        <p:nvPicPr>
          <p:cNvPr id="10244" name="Picture 4" descr="Image result for Ð¿Ð¸Ðº Ð»Ð¾Ð³Ð¾ÑÐ¸Ð¿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3823" y="2135867"/>
            <a:ext cx="1257182" cy="1302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ntent Placeholder 2"/>
          <p:cNvSpPr txBox="1">
            <a:spLocks/>
          </p:cNvSpPr>
          <p:nvPr/>
        </p:nvSpPr>
        <p:spPr>
          <a:xfrm>
            <a:off x="4425789" y="1706418"/>
            <a:ext cx="3313586" cy="483577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 smtClean="0"/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 smtClean="0"/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sz="2000" b="1" u="sng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sz="2000" b="1" u="sng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Goal</a:t>
            </a:r>
            <a:r>
              <a:rPr lang="en-US" sz="2000" dirty="0" smtClean="0"/>
              <a:t>: </a:t>
            </a:r>
            <a:r>
              <a:rPr lang="en-US" sz="2000" dirty="0" smtClean="0"/>
              <a:t>Predict u</a:t>
            </a:r>
            <a:r>
              <a:rPr lang="en-US" sz="2000" dirty="0" smtClean="0"/>
              <a:t>nique units made per timestamp</a:t>
            </a:r>
            <a:endParaRPr lang="en-US" sz="20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Metric</a:t>
            </a:r>
            <a:r>
              <a:rPr lang="en-US" sz="2000" dirty="0" smtClean="0"/>
              <a:t>: RMSE</a:t>
            </a:r>
          </a:p>
          <a:p>
            <a:pPr marL="0" indent="0">
              <a:buNone/>
            </a:pPr>
            <a:r>
              <a:rPr lang="en-US" sz="2000" b="1" u="sng" dirty="0" smtClean="0"/>
              <a:t>Shape</a:t>
            </a:r>
            <a:r>
              <a:rPr lang="en-US" sz="2000" dirty="0" smtClean="0"/>
              <a:t>: </a:t>
            </a:r>
            <a:r>
              <a:rPr lang="en-US" sz="2000" dirty="0" smtClean="0"/>
              <a:t>(3395, 20)</a:t>
            </a:r>
            <a:endParaRPr lang="en-US" sz="20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Data</a:t>
            </a:r>
            <a:r>
              <a:rPr lang="en-US" sz="2000" dirty="0" smtClean="0"/>
              <a:t>:</a:t>
            </a:r>
          </a:p>
          <a:p>
            <a:pPr>
              <a:buFontTx/>
              <a:buChar char="-"/>
            </a:pPr>
            <a:r>
              <a:rPr lang="en-US" sz="2000" dirty="0"/>
              <a:t> </a:t>
            </a:r>
            <a:r>
              <a:rPr lang="en-US" sz="2000" dirty="0" smtClean="0"/>
              <a:t>Game attributes</a:t>
            </a:r>
          </a:p>
          <a:p>
            <a:pPr>
              <a:buFontTx/>
              <a:buChar char="-"/>
            </a:pPr>
            <a:r>
              <a:rPr lang="en-US" sz="2000" dirty="0" smtClean="0"/>
              <a:t> Players actions</a:t>
            </a:r>
            <a:endParaRPr lang="en-US" sz="2000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8353020" y="1706418"/>
            <a:ext cx="3313586" cy="483577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 smtClean="0"/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 smtClean="0"/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sz="2000" b="1" u="sng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sz="2000" b="1" u="sng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Goal</a:t>
            </a:r>
            <a:r>
              <a:rPr lang="en-US" sz="2000" dirty="0" smtClean="0"/>
              <a:t>: </a:t>
            </a:r>
            <a:r>
              <a:rPr lang="en-US" sz="2000" dirty="0" smtClean="0"/>
              <a:t>Sound pressure level prediction</a:t>
            </a:r>
            <a:endParaRPr lang="en-US" sz="20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Metric</a:t>
            </a:r>
            <a:r>
              <a:rPr lang="en-US" sz="2000" dirty="0" smtClean="0"/>
              <a:t>: RMS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Shape</a:t>
            </a:r>
            <a:r>
              <a:rPr lang="en-US" sz="2000" dirty="0" smtClean="0"/>
              <a:t>: </a:t>
            </a:r>
            <a:r>
              <a:rPr lang="en-US" sz="2000" dirty="0" smtClean="0"/>
              <a:t>(</a:t>
            </a:r>
            <a:r>
              <a:rPr lang="en-US" sz="2000" dirty="0" smtClean="0"/>
              <a:t>1503</a:t>
            </a:r>
            <a:r>
              <a:rPr lang="en-US" sz="2000" dirty="0" smtClean="0"/>
              <a:t>, 6)</a:t>
            </a:r>
            <a:endParaRPr lang="en-US" sz="20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u="sng" dirty="0" smtClean="0"/>
              <a:t>Data</a:t>
            </a:r>
            <a:r>
              <a:rPr lang="en-US" sz="2000" dirty="0" smtClean="0"/>
              <a:t>:</a:t>
            </a:r>
          </a:p>
          <a:p>
            <a:pPr>
              <a:buFontTx/>
              <a:buChar char="-"/>
            </a:pPr>
            <a:r>
              <a:rPr lang="en-US" sz="2000" dirty="0" smtClean="0"/>
              <a:t>NASA data, aerodynamics and acoustic tests of airfoil blade sections</a:t>
            </a:r>
            <a:endParaRPr lang="en-US" sz="2000" dirty="0" smtClean="0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953813" y="1889756"/>
            <a:ext cx="0" cy="447305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92602" y="1889756"/>
            <a:ext cx="0" cy="447305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93" name="Picture 53" descr="Image result for starcraft ico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226" y="2112450"/>
            <a:ext cx="1437176" cy="143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7" name="Picture 57" descr="Image result for airfoil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499" y="2071134"/>
            <a:ext cx="3024855" cy="131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944517" y="1437133"/>
            <a:ext cx="219579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/>
              <a:t>PIK</a:t>
            </a:r>
            <a:endParaRPr lang="en-US" sz="2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870274" y="1432483"/>
            <a:ext cx="219579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err="1" smtClean="0"/>
              <a:t>StarSkill</a:t>
            </a:r>
            <a:endParaRPr lang="en-US" sz="26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8796031" y="1448245"/>
            <a:ext cx="219579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 smtClean="0"/>
              <a:t>Airfoil</a:t>
            </a:r>
            <a:endParaRPr lang="en-US" sz="2600" b="1" dirty="0"/>
          </a:p>
        </p:txBody>
      </p:sp>
    </p:spTree>
    <p:extLst>
      <p:ext uri="{BB962C8B-B14F-4D97-AF65-F5344CB8AC3E}">
        <p14:creationId xmlns:p14="http://schemas.microsoft.com/office/powerpoint/2010/main" val="150629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Comparison – Forecasting Quality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6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7840" y="1573903"/>
            <a:ext cx="3959801" cy="24276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388" y="1596270"/>
            <a:ext cx="3934163" cy="24063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732" y="4269589"/>
            <a:ext cx="3934909" cy="236923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447069" y="1249628"/>
            <a:ext cx="2195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IK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7529296" y="1244765"/>
            <a:ext cx="2195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SkillCraft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411444" y="3944992"/>
            <a:ext cx="2195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irfoil</a:t>
            </a:r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>
            <a:off x="6804837" y="4301488"/>
            <a:ext cx="3646968" cy="2086761"/>
            <a:chOff x="7032851" y="1579991"/>
            <a:chExt cx="4648287" cy="4872791"/>
          </a:xfrm>
        </p:grpSpPr>
        <p:sp>
          <p:nvSpPr>
            <p:cNvPr id="37" name="Rectangle 36"/>
            <p:cNvSpPr/>
            <p:nvPr/>
          </p:nvSpPr>
          <p:spPr>
            <a:xfrm>
              <a:off x="7032851" y="1579991"/>
              <a:ext cx="4648287" cy="48727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221483" y="2170028"/>
              <a:ext cx="4247838" cy="366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buSzPct val="100000"/>
                <a:buFontTx/>
                <a:buChar char="-"/>
              </a:pPr>
              <a:r>
                <a:rPr lang="en-US" sz="1600" dirty="0" smtClean="0"/>
                <a:t>HRT outperforms other methods for 2/3 datasets</a:t>
              </a:r>
            </a:p>
            <a:p>
              <a:pPr marL="285750" indent="-285750" algn="just">
                <a:buSzPct val="100000"/>
                <a:buFontTx/>
                <a:buChar char="-"/>
              </a:pPr>
              <a:r>
                <a:rPr lang="en-US" sz="1600" dirty="0" smtClean="0"/>
                <a:t>The better Lasso is, the better HRT is</a:t>
              </a:r>
            </a:p>
            <a:p>
              <a:pPr marL="285750" indent="-285750" algn="just">
                <a:buSzPct val="100000"/>
                <a:buFontTx/>
                <a:buChar char="-"/>
              </a:pPr>
              <a:r>
                <a:rPr lang="en-US" sz="1600" dirty="0" smtClean="0"/>
                <a:t>HRT is dependent on the number of data it is trained 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53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Comparison – Training Time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7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2447069" y="1249628"/>
            <a:ext cx="2195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IK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7529296" y="1244765"/>
            <a:ext cx="2195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SkillCraft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411444" y="3944992"/>
            <a:ext cx="2195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irfoi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538" y="1637092"/>
            <a:ext cx="3934909" cy="239848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732" y="4263610"/>
            <a:ext cx="3934909" cy="232702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732" y="1637052"/>
            <a:ext cx="3943828" cy="2333326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6730409" y="4290855"/>
            <a:ext cx="3581038" cy="2086761"/>
            <a:chOff x="7032851" y="1579991"/>
            <a:chExt cx="4648287" cy="4872791"/>
          </a:xfrm>
        </p:grpSpPr>
        <p:sp>
          <p:nvSpPr>
            <p:cNvPr id="20" name="Rectangle 19"/>
            <p:cNvSpPr/>
            <p:nvPr/>
          </p:nvSpPr>
          <p:spPr>
            <a:xfrm>
              <a:off x="7032851" y="1579991"/>
              <a:ext cx="4648287" cy="48727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221483" y="2177886"/>
              <a:ext cx="4172597" cy="366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buSzPct val="100000"/>
                <a:buFontTx/>
                <a:buChar char="-"/>
              </a:pPr>
              <a:r>
                <a:rPr lang="en-US" sz="1600" dirty="0" smtClean="0"/>
                <a:t>HRT is trained longer than all other methods (as expected)</a:t>
              </a:r>
            </a:p>
            <a:p>
              <a:pPr marL="285750" indent="-285750" algn="just">
                <a:buSzPct val="100000"/>
                <a:buFontTx/>
                <a:buChar char="-"/>
              </a:pPr>
              <a:r>
                <a:rPr lang="en-US" sz="1600" dirty="0" smtClean="0"/>
                <a:t>Its train time scale worse in train size than other methods</a:t>
              </a:r>
            </a:p>
            <a:p>
              <a:pPr marL="285750" indent="-285750" algn="just">
                <a:buSzPct val="100000"/>
                <a:buFontTx/>
                <a:buChar char="-"/>
              </a:pPr>
              <a:r>
                <a:rPr lang="en-US" sz="1600" dirty="0" smtClean="0"/>
                <a:t>For larger datasets it could perform better than RF, ERR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719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5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Conclusion &amp; Further steps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8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956932" y="2141212"/>
            <a:ext cx="4699589" cy="3872733"/>
            <a:chOff x="7032851" y="2055463"/>
            <a:chExt cx="4648287" cy="6319392"/>
          </a:xfrm>
        </p:grpSpPr>
        <p:sp>
          <p:nvSpPr>
            <p:cNvPr id="12" name="Rectangle 11"/>
            <p:cNvSpPr/>
            <p:nvPr/>
          </p:nvSpPr>
          <p:spPr>
            <a:xfrm>
              <a:off x="7032851" y="2055463"/>
              <a:ext cx="4648287" cy="63193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263551" y="2562028"/>
              <a:ext cx="4070544" cy="4767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For some cases HRT </a:t>
              </a:r>
              <a:r>
                <a:rPr lang="en-US" b="1" dirty="0" smtClean="0"/>
                <a:t>outperforms</a:t>
              </a:r>
              <a:r>
                <a:rPr lang="en-US" dirty="0" smtClean="0"/>
                <a:t> RF, Extremely Randomized RF and Lasso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In general, HRT </a:t>
              </a:r>
              <a:r>
                <a:rPr lang="en-US" b="1" dirty="0" smtClean="0"/>
                <a:t>improves Lasso </a:t>
              </a:r>
              <a:r>
                <a:rPr lang="en-US" dirty="0" smtClean="0"/>
                <a:t>results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HRT captures </a:t>
              </a:r>
              <a:r>
                <a:rPr lang="en-US" b="1" dirty="0" smtClean="0"/>
                <a:t>non-linear </a:t>
              </a:r>
              <a:r>
                <a:rPr lang="en-US" dirty="0" smtClean="0"/>
                <a:t>data</a:t>
              </a:r>
              <a:r>
                <a:rPr lang="en-US" b="1" dirty="0" smtClean="0"/>
                <a:t> </a:t>
              </a:r>
              <a:r>
                <a:rPr lang="en-US" dirty="0" smtClean="0"/>
                <a:t>structure 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HRT is </a:t>
              </a:r>
              <a:r>
                <a:rPr lang="en-US" b="1" dirty="0" smtClean="0"/>
                <a:t>sensitive to the number of data </a:t>
              </a:r>
              <a:r>
                <a:rPr lang="en-US" dirty="0" smtClean="0"/>
                <a:t>it is trained on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HRT is </a:t>
              </a:r>
              <a:r>
                <a:rPr lang="en-US" b="1" dirty="0" smtClean="0"/>
                <a:t>computationally expensive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HRT is suitable for middle size datasets</a:t>
              </a:r>
            </a:p>
          </p:txBody>
        </p:sp>
      </p:grpSp>
      <p:sp>
        <p:nvSpPr>
          <p:cNvPr id="14" name="Прямоугольник"/>
          <p:cNvSpPr/>
          <p:nvPr/>
        </p:nvSpPr>
        <p:spPr>
          <a:xfrm>
            <a:off x="839973" y="1769200"/>
            <a:ext cx="4845134" cy="551962"/>
          </a:xfrm>
          <a:prstGeom prst="rect">
            <a:avLst/>
          </a:prstGeom>
          <a:solidFill>
            <a:srgbClr val="757171"/>
          </a:solidFill>
          <a:ln w="12700">
            <a:miter lim="400000"/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45719" rIns="45719" anchor="ctr"/>
          <a:lstStyle/>
          <a:p>
            <a:pPr algn="ctr"/>
            <a:r>
              <a:rPr lang="en-US" sz="2800" dirty="0">
                <a:solidFill>
                  <a:srgbClr val="FFFFFF"/>
                </a:solidFill>
              </a:rPr>
              <a:t>Conclusio</a:t>
            </a:r>
            <a:r>
              <a:rPr lang="en-US" sz="2800" dirty="0">
                <a:solidFill>
                  <a:srgbClr val="FFFFFF"/>
                </a:solidFill>
              </a:rPr>
              <a:t>n</a:t>
            </a:r>
            <a:endParaRPr sz="2800" dirty="0">
              <a:solidFill>
                <a:srgbClr val="FFFFFF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414979" y="2141211"/>
            <a:ext cx="4699589" cy="3872733"/>
            <a:chOff x="7032851" y="2055464"/>
            <a:chExt cx="4648287" cy="4872791"/>
          </a:xfrm>
        </p:grpSpPr>
        <p:sp>
          <p:nvSpPr>
            <p:cNvPr id="16" name="Rectangle 15"/>
            <p:cNvSpPr/>
            <p:nvPr/>
          </p:nvSpPr>
          <p:spPr>
            <a:xfrm>
              <a:off x="7032851" y="2055464"/>
              <a:ext cx="4648287" cy="48727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253367" y="2666056"/>
              <a:ext cx="4070544" cy="36075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Compare HRT to GBT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Consider other algorithm in leafs except linear regression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Implement HRT with parallelization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r>
                <a:rPr lang="en-US" dirty="0" smtClean="0"/>
                <a:t>Apply HRT to big data sets</a:t>
              </a:r>
            </a:p>
            <a:p>
              <a:pPr marL="285750" indent="-285750" algn="just">
                <a:lnSpc>
                  <a:spcPct val="150000"/>
                </a:lnSpc>
                <a:buSzPct val="100000"/>
                <a:buFontTx/>
                <a:buChar char="-"/>
              </a:pPr>
              <a:endParaRPr lang="en-US" b="1" dirty="0" smtClean="0"/>
            </a:p>
          </p:txBody>
        </p:sp>
      </p:grpSp>
      <p:sp>
        <p:nvSpPr>
          <p:cNvPr id="18" name="Прямоугольник"/>
          <p:cNvSpPr/>
          <p:nvPr/>
        </p:nvSpPr>
        <p:spPr>
          <a:xfrm>
            <a:off x="6298020" y="1769198"/>
            <a:ext cx="4845134" cy="551962"/>
          </a:xfrm>
          <a:prstGeom prst="rect">
            <a:avLst/>
          </a:prstGeom>
          <a:solidFill>
            <a:srgbClr val="757171"/>
          </a:solidFill>
          <a:ln w="12700">
            <a:miter lim="400000"/>
          </a:ln>
          <a:effectLst>
            <a:outerShdw blurRad="50800" dist="38100" dir="2700000" rotWithShape="0">
              <a:srgbClr val="000000">
                <a:alpha val="40000"/>
              </a:srgbClr>
            </a:outerShdw>
          </a:effectLst>
        </p:spPr>
        <p:txBody>
          <a:bodyPr lIns="45719" rIns="45719" anchor="ctr"/>
          <a:lstStyle/>
          <a:p>
            <a:pPr algn="ctr"/>
            <a:r>
              <a:rPr lang="en-US" sz="2800" dirty="0" smtClean="0">
                <a:solidFill>
                  <a:srgbClr val="FFFFFF"/>
                </a:solidFill>
              </a:rPr>
              <a:t>Further steps</a:t>
            </a:r>
            <a:endParaRPr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01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347541"/>
            <a:ext cx="12192000" cy="777875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8" name="Picture 4" descr="Related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046" y="85096"/>
            <a:ext cx="1233338" cy="1233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8077" y="470610"/>
            <a:ext cx="9155723" cy="615461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575B5D"/>
                </a:solidFill>
              </a:rPr>
              <a:t>Our Team</a:t>
            </a:r>
            <a:endParaRPr lang="en-US" b="1" dirty="0">
              <a:solidFill>
                <a:srgbClr val="575B5D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743700"/>
            <a:ext cx="12192000" cy="114300"/>
          </a:xfrm>
          <a:prstGeom prst="rect">
            <a:avLst/>
          </a:prstGeom>
          <a:solidFill>
            <a:srgbClr val="B3D313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FB1DE-2FAF-4F3D-A35D-9151061B8172}" type="slidenum">
              <a:rPr lang="en-US" smtClean="0"/>
              <a:t>9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792112" y="1558553"/>
            <a:ext cx="8654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Input of each team member was focused on, but not restricted to:</a:t>
            </a:r>
            <a:endParaRPr lang="en-US" sz="2400" dirty="0"/>
          </a:p>
        </p:txBody>
      </p:sp>
      <p:sp>
        <p:nvSpPr>
          <p:cNvPr id="21" name="TextBox 20"/>
          <p:cNvSpPr txBox="1"/>
          <p:nvPr/>
        </p:nvSpPr>
        <p:spPr>
          <a:xfrm>
            <a:off x="2034857" y="2504002"/>
            <a:ext cx="21920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Gazdieva</a:t>
            </a:r>
            <a:r>
              <a:rPr lang="en-US" b="1" dirty="0" smtClean="0"/>
              <a:t> Milen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RT the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RT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ta clean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5901722" y="2499668"/>
            <a:ext cx="22666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aksimov Iv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RT ensem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enchmark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741948" y="2499668"/>
            <a:ext cx="217653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Belikova</a:t>
            </a:r>
            <a:r>
              <a:rPr lang="en-US" b="1" dirty="0" smtClean="0"/>
              <a:t> Kristin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RT 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enchma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sults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3618421" y="4604832"/>
            <a:ext cx="21765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Nikita </a:t>
            </a:r>
            <a:r>
              <a:rPr lang="en-US" b="1" dirty="0" err="1" smtClean="0"/>
              <a:t>Alexeichyk</a:t>
            </a:r>
            <a:r>
              <a:rPr lang="en-US" b="1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RT debug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ipe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isualiza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000911" y="4604832"/>
            <a:ext cx="244580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ikhail </a:t>
            </a:r>
            <a:r>
              <a:rPr lang="en-US" b="1" dirty="0" err="1" smtClean="0"/>
              <a:t>Kuzin</a:t>
            </a:r>
            <a:r>
              <a:rPr lang="en-US" b="1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RT debug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eature engine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290" name="Picture 2" descr="Related 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4488" y="2445810"/>
            <a:ext cx="1331627" cy="1331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Related imag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258" y="4526167"/>
            <a:ext cx="1323250" cy="132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Related imag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051" y="4345699"/>
            <a:ext cx="1607910" cy="1692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Related imag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327" y="2497068"/>
            <a:ext cx="1309798" cy="1309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3" name="Picture 15" descr="Image result for student ico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05" y="2445809"/>
            <a:ext cx="1361057" cy="1361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488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92</TotalTime>
  <Words>511</Words>
  <Application>Microsoft Office PowerPoint</Application>
  <PresentationFormat>Widescreen</PresentationFormat>
  <Paragraphs>12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Georgia</vt:lpstr>
      <vt:lpstr>Office Theme</vt:lpstr>
      <vt:lpstr>think-cell Slide</vt:lpstr>
      <vt:lpstr>PowerPoint Presentation</vt:lpstr>
      <vt:lpstr>Problem Statement</vt:lpstr>
      <vt:lpstr>HRT - General Concepts</vt:lpstr>
      <vt:lpstr>Deep Dive in Theory</vt:lpstr>
      <vt:lpstr>Datasets</vt:lpstr>
      <vt:lpstr>Comparison – Forecasting Quality</vt:lpstr>
      <vt:lpstr>Comparison – Training Time</vt:lpstr>
      <vt:lpstr>Conclusion &amp; Further steps</vt:lpstr>
      <vt:lpstr>Our Team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van Maksimov</dc:creator>
  <cp:lastModifiedBy>Ivan Maksimov</cp:lastModifiedBy>
  <cp:revision>58</cp:revision>
  <dcterms:created xsi:type="dcterms:W3CDTF">2019-03-13T12:37:09Z</dcterms:created>
  <dcterms:modified xsi:type="dcterms:W3CDTF">2019-03-19T09:11:45Z</dcterms:modified>
</cp:coreProperties>
</file>